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  <p:sldMasterId id="2147483919" r:id="rId2"/>
    <p:sldMasterId id="2147483958" r:id="rId3"/>
  </p:sldMasterIdLst>
  <p:notesMasterIdLst>
    <p:notesMasterId r:id="rId5"/>
  </p:notesMasterIdLst>
  <p:sldIdLst>
    <p:sldId id="395" r:id="rId4"/>
  </p:sldIdLst>
  <p:sldSz cx="9906000" cy="6858000" type="A4"/>
  <p:notesSz cx="6807200" cy="9939338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作成者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0CE"/>
    <a:srgbClr val="53565A"/>
    <a:srgbClr val="86BC25"/>
    <a:srgbClr val="FC92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17" autoAdjust="0"/>
    <p:restoredTop sz="96051" autoAdjust="0"/>
  </p:normalViewPr>
  <p:slideViewPr>
    <p:cSldViewPr snapToGrid="0" showGuides="1">
      <p:cViewPr varScale="1">
        <p:scale>
          <a:sx n="85" d="100"/>
          <a:sy n="85" d="100"/>
        </p:scale>
        <p:origin x="1627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992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3/12/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40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440373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3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4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4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6" Type="http://schemas.openxmlformats.org/officeDocument/2006/relationships/image" Target="../media/image12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Relationship Id="rId6" Type="http://schemas.openxmlformats.org/officeDocument/2006/relationships/image" Target="../media/image11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6" Type="http://schemas.openxmlformats.org/officeDocument/2006/relationships/image" Target="../media/image12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0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D8A3C8F-27AF-49F3-AF8F-A2491A99944E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09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77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768E43BC-0429-414C-BDAF-442F6FEE1F8D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4" name="図 3" descr="ロゴ, 会社名&#10;&#10;自動的に生成された説明">
              <a:extLst>
                <a:ext uri="{FF2B5EF4-FFF2-40B4-BE49-F238E27FC236}">
                  <a16:creationId xmlns:a16="http://schemas.microsoft.com/office/drawing/2014/main" id="{784D5B73-DF9C-49AC-94A2-96EF6F33C25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 descr="ロゴ&#10;&#10;自動的に生成された説明">
              <a:extLst>
                <a:ext uri="{FF2B5EF4-FFF2-40B4-BE49-F238E27FC236}">
                  <a16:creationId xmlns:a16="http://schemas.microsoft.com/office/drawing/2014/main" id="{2A7BE88D-698D-4275-913C-25ED99C187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35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BC01E31-FA0D-4317-BEE4-0E7AC224A8DA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6" name="図 5" descr="ロゴ, 会社名&#10;&#10;自動的に生成された説明">
              <a:extLst>
                <a:ext uri="{FF2B5EF4-FFF2-40B4-BE49-F238E27FC236}">
                  <a16:creationId xmlns:a16="http://schemas.microsoft.com/office/drawing/2014/main" id="{EA662424-EC38-41B4-918D-98953BBCEA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4E9F735-0942-4324-8416-52F209B106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685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47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B36E57AE-29F9-4712-8987-82A80AFD3A34}"/>
              </a:ext>
            </a:extLst>
          </p:cNvPr>
          <p:cNvGrpSpPr/>
          <p:nvPr userDrawn="1"/>
        </p:nvGrpSpPr>
        <p:grpSpPr>
          <a:xfrm>
            <a:off x="8050246" y="4451478"/>
            <a:ext cx="1440000" cy="1894801"/>
            <a:chOff x="8050246" y="4451478"/>
            <a:chExt cx="1440000" cy="1894801"/>
          </a:xfrm>
        </p:grpSpPr>
        <p:pic>
          <p:nvPicPr>
            <p:cNvPr id="11" name="図 10" descr="ロゴ, 会社名&#10;&#10;自動的に生成された説明">
              <a:extLst>
                <a:ext uri="{FF2B5EF4-FFF2-40B4-BE49-F238E27FC236}">
                  <a16:creationId xmlns:a16="http://schemas.microsoft.com/office/drawing/2014/main" id="{9CECCB90-F4A1-4210-BB80-AAC8707383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246" y="4451478"/>
              <a:ext cx="1440000" cy="873777"/>
            </a:xfrm>
            <a:prstGeom prst="rect">
              <a:avLst/>
            </a:prstGeom>
          </p:spPr>
        </p:pic>
        <p:pic>
          <p:nvPicPr>
            <p:cNvPr id="14" name="図 13" descr="ロゴ&#10;&#10;自動的に生成された説明">
              <a:extLst>
                <a:ext uri="{FF2B5EF4-FFF2-40B4-BE49-F238E27FC236}">
                  <a16:creationId xmlns:a16="http://schemas.microsoft.com/office/drawing/2014/main" id="{7B97852A-6CC9-45C0-9ED4-7C5966E19C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44450" cy="8727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68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D7282F61-E2C8-4F11-8BDA-2196A084EFB0}"/>
              </a:ext>
            </a:extLst>
          </p:cNvPr>
          <p:cNvGrpSpPr/>
          <p:nvPr userDrawn="1"/>
        </p:nvGrpSpPr>
        <p:grpSpPr>
          <a:xfrm>
            <a:off x="8050925" y="4451478"/>
            <a:ext cx="1440000" cy="1861937"/>
            <a:chOff x="8050925" y="4451478"/>
            <a:chExt cx="1440000" cy="1861937"/>
          </a:xfrm>
        </p:grpSpPr>
        <p:pic>
          <p:nvPicPr>
            <p:cNvPr id="15" name="図 14" descr="ロゴ, 会社名&#10;&#10;自動的に生成された説明">
              <a:extLst>
                <a:ext uri="{FF2B5EF4-FFF2-40B4-BE49-F238E27FC236}">
                  <a16:creationId xmlns:a16="http://schemas.microsoft.com/office/drawing/2014/main" id="{6EA7DDA3-D213-4851-A8D2-17E7E3D76D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 bwMode="gray">
            <a:xfrm>
              <a:off x="8050925" y="4451478"/>
              <a:ext cx="1440000" cy="873777"/>
            </a:xfrm>
            <a:prstGeom prst="rect">
              <a:avLst/>
            </a:prstGeom>
          </p:spPr>
        </p:pic>
        <p:pic>
          <p:nvPicPr>
            <p:cNvPr id="16" name="図 15">
              <a:extLst>
                <a:ext uri="{FF2B5EF4-FFF2-40B4-BE49-F238E27FC236}">
                  <a16:creationId xmlns:a16="http://schemas.microsoft.com/office/drawing/2014/main" id="{877E095A-DB76-42C9-A055-084103BA96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8148021" y="5473537"/>
              <a:ext cx="1229139" cy="8398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7478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06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65211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小見出しあ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39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274589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499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15478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63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96918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5721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51962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97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250988A-35F8-4D53-9901-DC6A1B6FD862}"/>
              </a:ext>
            </a:extLst>
          </p:cNvPr>
          <p:cNvSpPr txBox="1"/>
          <p:nvPr userDrawn="1"/>
        </p:nvSpPr>
        <p:spPr bwMode="gray">
          <a:xfrm>
            <a:off x="8361740" y="0"/>
            <a:ext cx="1544260" cy="1538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lIns="36000" tIns="0" rIns="3600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iscussion Purpose Only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857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77750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17003138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479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42894216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3141074112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49459582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902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30005255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39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54596157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190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81822171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81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3017296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9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7F14F7E8-2C42-4BD2-8B4C-7C658763AB7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7972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D6BA3D81-CAD1-43DC-A531-54F7C4DC8DF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4" name="図 3" descr="ロゴ, 会社名&#10;&#10;自動的に生成された説明">
            <a:extLst>
              <a:ext uri="{FF2B5EF4-FFF2-40B4-BE49-F238E27FC236}">
                <a16:creationId xmlns:a16="http://schemas.microsoft.com/office/drawing/2014/main" id="{784D5B73-DF9C-49AC-94A2-96EF6F33C25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09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38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E823F930-1440-4D98-B4B0-A60A3B3453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7600" y="432000"/>
            <a:ext cx="1872000" cy="581488"/>
          </a:xfrm>
          <a:prstGeom prst="rect">
            <a:avLst/>
          </a:prstGeom>
        </p:spPr>
      </p:pic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340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08C8D089-6B7B-4D22-A423-606FF0A0723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7601" y="432000"/>
            <a:ext cx="1870453" cy="586800"/>
          </a:xfrm>
          <a:prstGeom prst="rect">
            <a:avLst/>
          </a:prstGeom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8ECAF025-B44C-4744-8C34-DBC751A55D36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6" name="図 5" descr="ロゴ, 会社名&#10;&#10;自動的に生成された説明">
            <a:extLst>
              <a:ext uri="{FF2B5EF4-FFF2-40B4-BE49-F238E27FC236}">
                <a16:creationId xmlns:a16="http://schemas.microsoft.com/office/drawing/2014/main" id="{EA662424-EC38-41B4-918D-98953BBCEA8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112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586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881D215A-DF31-4FC4-A706-4B6A3613D0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16496" y="431005"/>
            <a:ext cx="3447786" cy="58680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37">
            <a:extLst>
              <a:ext uri="{FF2B5EF4-FFF2-40B4-BE49-F238E27FC236}">
                <a16:creationId xmlns:a16="http://schemas.microsoft.com/office/drawing/2014/main" id="{5FB43949-A16F-4CF9-89FA-2868A80FA4F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4770B572-0E41-4F38-9C69-20D76FA470A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502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5580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900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03F3504-9539-4146-B3C1-F25407A51609}"/>
              </a:ext>
            </a:extLst>
          </p:cNvPr>
          <p:cNvSpPr txBox="1"/>
          <p:nvPr userDrawn="1"/>
        </p:nvSpPr>
        <p:spPr bwMode="gray">
          <a:xfrm>
            <a:off x="8041197" y="6517421"/>
            <a:ext cx="1402628" cy="25648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ts val="950"/>
              </a:lnSpc>
            </a:pPr>
            <a: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Member of</a:t>
            </a:r>
            <a:br>
              <a:rPr kumimoji="1" lang="en-US" altLang="ja-JP" sz="800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</a:br>
            <a:r>
              <a:rPr kumimoji="1" lang="en-US" altLang="ja-JP" sz="800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Deloitte Touche Tohmatsu Limited</a:t>
            </a:r>
            <a:endParaRPr kumimoji="1" lang="ja-JP" altLang="en-US" sz="8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66211CF3-AF55-4BB2-ABA6-DFDFA3C51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gray">
          <a:xfrm>
            <a:off x="417600" y="432000"/>
            <a:ext cx="3449948" cy="586076"/>
          </a:xfrm>
          <a:prstGeom prst="rect">
            <a:avLst/>
          </a:prstGeom>
        </p:spPr>
      </p:pic>
      <p:sp>
        <p:nvSpPr>
          <p:cNvPr id="9" name="Text Box 37">
            <a:extLst>
              <a:ext uri="{FF2B5EF4-FFF2-40B4-BE49-F238E27FC236}">
                <a16:creationId xmlns:a16="http://schemas.microsoft.com/office/drawing/2014/main" id="{97296455-89ED-4F08-B776-BE18D4C8DF8F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4176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l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800" kern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pic>
        <p:nvPicPr>
          <p:cNvPr id="12" name="図 11" descr="ロゴ, 会社名&#10;&#10;自動的に生成された説明">
            <a:extLst>
              <a:ext uri="{FF2B5EF4-FFF2-40B4-BE49-F238E27FC236}">
                <a16:creationId xmlns:a16="http://schemas.microsoft.com/office/drawing/2014/main" id="{D2BBA463-2249-4A4A-80B9-2AD35481962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50925" y="5472497"/>
            <a:ext cx="1440000" cy="87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3723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449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25565544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39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  <a:endParaRPr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0868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00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87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06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oleObject" Target="../embeddings/oleObject19.bin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5288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7" imgW="563" imgH="564" progId="TCLayout.ActiveDocument.1">
                  <p:embed/>
                </p:oleObj>
              </mc:Choice>
              <mc:Fallback>
                <p:oleObj name="think-cell スライド" r:id="rId17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36" r:id="rId8"/>
    <p:sldLayoutId id="2147483938" r:id="rId9"/>
    <p:sldLayoutId id="2147483939" r:id="rId10"/>
    <p:sldLayoutId id="2147483954" r:id="rId11"/>
    <p:sldLayoutId id="2147483955" r:id="rId12"/>
    <p:sldLayoutId id="2147483956" r:id="rId13"/>
    <p:sldLayoutId id="2147483957" r:id="rId14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96" userDrawn="1">
          <p15:clr>
            <a:srgbClr val="A4A3A4"/>
          </p15:clr>
        </p15:guide>
        <p15:guide id="17" orient="horz" pos="5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67064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1" r:id="rId2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orient="horz" pos="935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21" imgW="563" imgH="564" progId="TCLayout.ActiveDocument.1">
                  <p:embed/>
                </p:oleObj>
              </mc:Choice>
              <mc:Fallback>
                <p:oleObj name="think-cell スライド" r:id="rId21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t>© 2023. For information, contact Deloitte Tohmatsu Group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E4C0FFE5-9BDB-4F97-92E4-5E9243BDA7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defRPr kumimoji="1" lang="en-US" altLang="ja-JP" sz="1100" smtClean="0">
                <a:solidFill>
                  <a:srgbClr val="75787B"/>
                </a:solidFill>
                <a:latin typeface="+mn-lt"/>
                <a:cs typeface="+mn-cs"/>
              </a:defRPr>
            </a:lvl1pPr>
          </a:lstStyle>
          <a:p>
            <a:pPr algn="ctr"/>
            <a:r>
              <a:rPr lang="en-US"/>
              <a:t>&lt; Confidential &gt;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8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1" r:id="rId3"/>
    <p:sldLayoutId id="2147483962" r:id="rId4"/>
    <p:sldLayoutId id="2147483963" r:id="rId5"/>
    <p:sldLayoutId id="2147483964" r:id="rId6"/>
    <p:sldLayoutId id="2147483965" r:id="rId7"/>
    <p:sldLayoutId id="2147483966" r:id="rId8"/>
    <p:sldLayoutId id="2147483967" r:id="rId9"/>
    <p:sldLayoutId id="2147483968" r:id="rId10"/>
    <p:sldLayoutId id="2147483969" r:id="rId11"/>
    <p:sldLayoutId id="2147483970" r:id="rId12"/>
    <p:sldLayoutId id="2147483971" r:id="rId13"/>
    <p:sldLayoutId id="2147483972" r:id="rId14"/>
    <p:sldLayoutId id="2147483973" r:id="rId15"/>
    <p:sldLayoutId id="2147483974" r:id="rId16"/>
    <p:sldLayoutId id="2147483975" r:id="rId17"/>
    <p:sldLayoutId id="2147483977" r:id="rId18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>
            <a:extLst>
              <a:ext uri="{FF2B5EF4-FFF2-40B4-BE49-F238E27FC236}">
                <a16:creationId xmlns:a16="http://schemas.microsoft.com/office/drawing/2014/main" id="{820EB958-683C-D47C-5F3D-A3A9B0497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ご提出書類について（</a:t>
            </a:r>
            <a:r>
              <a:rPr lang="en-US" altLang="ja-JP" dirty="0"/>
              <a:t>EV</a:t>
            </a:r>
            <a:r>
              <a:rPr lang="ja-JP" altLang="en-US" dirty="0"/>
              <a:t>又は</a:t>
            </a:r>
            <a:r>
              <a:rPr lang="en-US" altLang="ja-JP" dirty="0"/>
              <a:t>PHV</a:t>
            </a:r>
            <a:r>
              <a:rPr lang="ja-JP" altLang="en-US" dirty="0"/>
              <a:t>の導入）</a:t>
            </a:r>
            <a:endParaRPr kumimoji="1" lang="ja-JP" altLang="en-US" dirty="0"/>
          </a:p>
        </p:txBody>
      </p:sp>
      <p:graphicFrame>
        <p:nvGraphicFramePr>
          <p:cNvPr id="4" name="表 4">
            <a:extLst>
              <a:ext uri="{FF2B5EF4-FFF2-40B4-BE49-F238E27FC236}">
                <a16:creationId xmlns:a16="http://schemas.microsoft.com/office/drawing/2014/main" id="{BB4B1CCB-D905-16F6-6698-6C6B7CA3F1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738622"/>
              </p:ext>
            </p:extLst>
          </p:nvPr>
        </p:nvGraphicFramePr>
        <p:xfrm>
          <a:off x="529341" y="1979168"/>
          <a:ext cx="8847318" cy="4020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5091">
                  <a:extLst>
                    <a:ext uri="{9D8B030D-6E8A-4147-A177-3AD203B41FA5}">
                      <a16:colId xmlns:a16="http://schemas.microsoft.com/office/drawing/2014/main" val="3955721475"/>
                    </a:ext>
                  </a:extLst>
                </a:gridCol>
                <a:gridCol w="3065091">
                  <a:extLst>
                    <a:ext uri="{9D8B030D-6E8A-4147-A177-3AD203B41FA5}">
                      <a16:colId xmlns:a16="http://schemas.microsoft.com/office/drawing/2014/main" val="2548736246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897713880"/>
                    </a:ext>
                  </a:extLst>
                </a:gridCol>
                <a:gridCol w="1358568">
                  <a:extLst>
                    <a:ext uri="{9D8B030D-6E8A-4147-A177-3AD203B41FA5}">
                      <a16:colId xmlns:a16="http://schemas.microsoft.com/office/drawing/2014/main" val="3189028761"/>
                    </a:ext>
                  </a:extLst>
                </a:gridCol>
              </a:tblGrid>
              <a:tr h="200408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確認させていただく項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左記をご確認するに当たって</a:t>
                      </a:r>
                      <a:br>
                        <a:rPr kumimoji="1" lang="en-US" altLang="ja-JP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をお願いする書類等</a:t>
                      </a:r>
                      <a:endParaRPr kumimoji="1" lang="en-US" altLang="ja-JP" sz="12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ご提出タイミング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2396312"/>
                  </a:ext>
                </a:extLst>
              </a:tr>
              <a:tr h="334013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kumimoji="1" lang="en-US" altLang="ja-JP" sz="1000" dirty="0"/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入会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モニタリング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650861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自動車登録番号、車体番号、型式、製造者、</a:t>
                      </a:r>
                      <a:br>
                        <a:rPr kumimoji="1" lang="en-US" altLang="ja-JP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</a:b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車名、定員、燃料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車検証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2997816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電力消費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検証やメーカー仕様書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855378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導入日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検証や契約書又は納車書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331028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設備投資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売買契約書・契約書等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396194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額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indent="0" algn="l" defTabSz="990564" rtl="0" eaLnBrk="1" fontAlgn="ctr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補助金交付決定通知書</a:t>
                      </a:r>
                      <a:endParaRPr kumimoji="1" lang="zh-TW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1740092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走行距離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走行距離計の計測データや点検簿又は管理簿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9333870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電力使用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電力計や車両</a:t>
                      </a:r>
                      <a:r>
                        <a:rPr kumimoji="1" lang="en-US" altLang="ja-JP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ECU</a:t>
                      </a: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による計測値又は走行距離計の計測データ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304485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燃料使用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燃料使用簿又は燃料供給会社からの請求書</a:t>
                      </a:r>
                      <a:br>
                        <a:rPr kumimoji="1" lang="en-US" altLang="ja-JP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又は走行距離計の計測データ等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dk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7857529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製造者、型番、車名、定員、燃料種</a:t>
                      </a:r>
                      <a:endParaRPr kumimoji="1" lang="ja-JP" alt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車検証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733694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7313" indent="0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エネルギー消費効率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検証やメーカー仕様書等</a:t>
                      </a: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64" rtl="0" eaLnBrk="1" latinLnBrk="0" hangingPunct="1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8645818"/>
                  </a:ext>
                </a:extLst>
              </a:tr>
              <a:tr h="200408">
                <a:tc>
                  <a:txBody>
                    <a:bodyPr/>
                    <a:lstStyle/>
                    <a:p>
                      <a:pPr marL="88900" indent="0" algn="l" fontAlgn="ctr"/>
                      <a:r>
                        <a:rPr kumimoji="1" lang="ja-JP" alt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法定耐用年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車検証や初度登録年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kern="1200" dirty="0">
                          <a:solidFill>
                            <a:schemeClr val="dk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○</a:t>
                      </a:r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8967570"/>
                  </a:ext>
                </a:extLst>
              </a:tr>
            </a:tbl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C89797F4-2F6E-DCA1-B787-F9D41C4D90E5}"/>
              </a:ext>
            </a:extLst>
          </p:cNvPr>
          <p:cNvGrpSpPr/>
          <p:nvPr/>
        </p:nvGrpSpPr>
        <p:grpSpPr>
          <a:xfrm>
            <a:off x="352994" y="5147217"/>
            <a:ext cx="110466" cy="926757"/>
            <a:chOff x="466412" y="1680519"/>
            <a:chExt cx="110466" cy="926757"/>
          </a:xfrm>
        </p:grpSpPr>
        <p:cxnSp>
          <p:nvCxnSpPr>
            <p:cNvPr id="8" name="直線コネクタ 7">
              <a:extLst>
                <a:ext uri="{FF2B5EF4-FFF2-40B4-BE49-F238E27FC236}">
                  <a16:creationId xmlns:a16="http://schemas.microsoft.com/office/drawing/2014/main" id="{540E39FA-6E8E-9CA8-633A-696DEF2A71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21645" y="1680519"/>
              <a:ext cx="0" cy="926757"/>
            </a:xfrm>
            <a:prstGeom prst="line">
              <a:avLst/>
            </a:prstGeom>
            <a:ln w="1270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F166BF46-A814-96A3-BDC0-B82BCE639373}"/>
                </a:ext>
              </a:extLst>
            </p:cNvPr>
            <p:cNvSpPr/>
            <p:nvPr/>
          </p:nvSpPr>
          <p:spPr bwMode="gray">
            <a:xfrm>
              <a:off x="466412" y="1775015"/>
              <a:ext cx="110466" cy="72510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導入前</a:t>
              </a:r>
            </a:p>
          </p:txBody>
        </p:sp>
      </p:grp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A8A51A2C-E8E7-B90D-5210-01BD7793AE2C}"/>
              </a:ext>
            </a:extLst>
          </p:cNvPr>
          <p:cNvGrpSpPr/>
          <p:nvPr/>
        </p:nvGrpSpPr>
        <p:grpSpPr>
          <a:xfrm>
            <a:off x="302505" y="2643687"/>
            <a:ext cx="211445" cy="2379105"/>
            <a:chOff x="415923" y="2780270"/>
            <a:chExt cx="211445" cy="2379105"/>
          </a:xfrm>
        </p:grpSpPr>
        <p:cxnSp>
          <p:nvCxnSpPr>
            <p:cNvPr id="10" name="直線コネクタ 9">
              <a:extLst>
                <a:ext uri="{FF2B5EF4-FFF2-40B4-BE49-F238E27FC236}">
                  <a16:creationId xmlns:a16="http://schemas.microsoft.com/office/drawing/2014/main" id="{5DEDA5C0-F7E7-E194-D27B-635F04260F9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21645" y="2780270"/>
              <a:ext cx="0" cy="2379105"/>
            </a:xfrm>
            <a:prstGeom prst="line">
              <a:avLst/>
            </a:prstGeom>
            <a:ln w="1270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正方形/長方形 20">
              <a:extLst>
                <a:ext uri="{FF2B5EF4-FFF2-40B4-BE49-F238E27FC236}">
                  <a16:creationId xmlns:a16="http://schemas.microsoft.com/office/drawing/2014/main" id="{003F57AF-BBD6-6D1F-97A6-C0A9DA8A77B4}"/>
                </a:ext>
              </a:extLst>
            </p:cNvPr>
            <p:cNvSpPr/>
            <p:nvPr/>
          </p:nvSpPr>
          <p:spPr bwMode="gray">
            <a:xfrm>
              <a:off x="415923" y="3662022"/>
              <a:ext cx="211445" cy="615601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導入後</a:t>
              </a:r>
            </a:p>
          </p:txBody>
        </p:sp>
      </p:grp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B84EF978-B8F7-70C5-AA00-867DFCA5AE50}"/>
              </a:ext>
            </a:extLst>
          </p:cNvPr>
          <p:cNvSpPr txBox="1"/>
          <p:nvPr/>
        </p:nvSpPr>
        <p:spPr bwMode="gray">
          <a:xfrm>
            <a:off x="641682" y="954475"/>
            <a:ext cx="8847318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「左記をご確認するにあたって提出をお願いする書類等」については、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必ずしもここに記載の書類でなくとも、「確認項目」の根拠となる書類であれば、受付可能である場合があります。</a:t>
            </a:r>
            <a:endParaRPr kumimoji="1" lang="en-US" altLang="ja-JP" sz="1200" dirty="0">
              <a:solidFill>
                <a:prstClr val="black"/>
              </a:solidFill>
              <a:latin typeface="+mn-lt"/>
              <a:cs typeface="+mn-cs"/>
            </a:endParaRPr>
          </a:p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詳細な提出必要書類についてのご連絡は、入会申込後、事務局より参加事業者へ個別連絡させていただきます。</a:t>
            </a:r>
          </a:p>
        </p:txBody>
      </p:sp>
    </p:spTree>
    <p:extLst>
      <p:ext uri="{BB962C8B-B14F-4D97-AF65-F5344CB8AC3E}">
        <p14:creationId xmlns:p14="http://schemas.microsoft.com/office/powerpoint/2010/main" val="3765826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5829B228-F417-4B8D-8A59-38664B27307B}"/>
    </a:ext>
  </a:extLst>
</a:theme>
</file>

<file path=ppt/theme/theme2.xml><?xml version="1.0" encoding="utf-8"?>
<a:theme xmlns:a="http://schemas.openxmlformats.org/drawingml/2006/main" name="DT Template_A4_J_202301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プレゼンテーション1" id="{FC516702-FD3C-44A9-AA37-5D40A03937FB}" vid="{7C99FE54-6E1C-4473-9BDC-2F53E223FAD5}"/>
    </a:ext>
  </a:extLst>
</a:theme>
</file>

<file path=ppt/theme/theme3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 (1)</Template>
  <TotalTime>0</TotalTime>
  <Words>259</Words>
  <Application>Microsoft Office PowerPoint</Application>
  <PresentationFormat>A4 210 x 297 mm</PresentationFormat>
  <Paragraphs>44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2" baseType="lpstr">
      <vt:lpstr>Meiryo UI</vt:lpstr>
      <vt:lpstr>Arial</vt:lpstr>
      <vt:lpstr>Calibri</vt:lpstr>
      <vt:lpstr>Calibri Light</vt:lpstr>
      <vt:lpstr>Segoe UI</vt:lpstr>
      <vt:lpstr>Verdana</vt:lpstr>
      <vt:lpstr>Wingdings</vt:lpstr>
      <vt:lpstr>DT Template_A4_J_202301</vt:lpstr>
      <vt:lpstr>DT Template_A4_J_202301_基本版②</vt:lpstr>
      <vt:lpstr>DT Template_A4_J_202201</vt:lpstr>
      <vt:lpstr>think-cell スライド</vt:lpstr>
      <vt:lpstr>ご提出書類について（EV又はPHVの導入）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dc:description/>
  <cp:lastModifiedBy/>
  <cp:revision>1</cp:revision>
  <dcterms:created xsi:type="dcterms:W3CDTF">2023-12-06T06:05:25Z</dcterms:created>
  <dcterms:modified xsi:type="dcterms:W3CDTF">2023-12-06T06:17:01Z</dcterms:modified>
</cp:coreProperties>
</file>